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12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38.xml" ContentType="application/vnd.openxmlformats-officedocument.presentationml.tags+xml"/>
  <Override PartName="/ppt/notesSlides/notesSlide12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87" r:id="rId13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129.xml" Id="rId132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3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29.xml.rels>&#65279;<?xml version="1.0" encoding="utf-8"?><Relationships xmlns="http://schemas.openxmlformats.org/package/2006/relationships"><Relationship Type="http://schemas.openxmlformats.org/officeDocument/2006/relationships/slide" Target="/ppt/slides/slide129.xml" Id="rId2" /><Relationship Type="http://schemas.openxmlformats.org/officeDocument/2006/relationships/notesMaster" Target="/ppt/notesMasters/notesMaster1.xml" Id="rId1" /></Relationships>
</file>

<file path=ppt/notesSlides/notesSlide1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31565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2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438.xml" Id="rId2" /><Relationship Type="http://schemas.openxmlformats.org/officeDocument/2006/relationships/vmlDrawing" Target="/ppt/drawings/vmlDrawing13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33.bin" Id="rId5" /><Relationship Type="http://schemas.openxmlformats.org/officeDocument/2006/relationships/notesSlide" Target="/ppt/notesSlides/notesSlide129.xml" Id="rId4" /></Relationships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612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Four steps</a:t>
            </a:r>
          </a:p>
        </p:txBody>
      </p:sp>
      <p:grpSp>
        <p:nvGrpSpPr>
          <p:cNvPr id="3" name="Gruppieren 32">
            <a:extLst>
              <a:ext uri="{FF2B5EF4-FFF2-40B4-BE49-F238E27FC236}">
                <a16:creationId xmlns:a16="http://schemas.microsoft.com/office/drawing/2014/main" id="{E9B32797-56B7-D3A2-8F24-EA8804B25184}"/>
              </a:ext>
            </a:extLst>
          </p:cNvPr>
          <p:cNvGrpSpPr>
            <a:grpSpLocks/>
          </p:cNvGrpSpPr>
          <p:nvPr/>
        </p:nvGrpSpPr>
        <p:grpSpPr>
          <a:xfrm>
            <a:off x="982665" y="1938437"/>
            <a:ext cx="10226670" cy="3489672"/>
            <a:chOff x="982665" y="2060358"/>
            <a:chExt cx="10226670" cy="3489672"/>
          </a:xfrm>
        </p:grpSpPr>
        <p:sp>
          <p:nvSpPr>
            <p:cNvPr id="4" name="Freihandform: Form 20">
              <a:extLst>
                <a:ext uri="{FF2B5EF4-FFF2-40B4-BE49-F238E27FC236}">
                  <a16:creationId xmlns:a16="http://schemas.microsoft.com/office/drawing/2014/main" id="{E6E0A75A-EDE0-05FC-8A09-E1F861863225}"/>
                </a:ext>
              </a:extLst>
            </p:cNvPr>
            <p:cNvSpPr>
              <a:spLocks/>
            </p:cNvSpPr>
            <p:nvPr/>
          </p:nvSpPr>
          <p:spPr bwMode="gray">
            <a:xfrm>
              <a:off x="6096000" y="2060358"/>
              <a:ext cx="2556670" cy="3489672"/>
            </a:xfrm>
            <a:custGeom>
              <a:avLst/>
              <a:gdLst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034729 h 3931816"/>
                <a:gd name="connsiteX5" fmla="*/ 2520157 w 2520158"/>
                <a:gd name="connsiteY5" fmla="*/ 3931816 h 3931816"/>
                <a:gd name="connsiteX6" fmla="*/ 0 w 2520158"/>
                <a:gd name="connsiteY6" fmla="*/ 3386922 h 3931816"/>
                <a:gd name="connsiteX7" fmla="*/ 0 w 2520158"/>
                <a:gd name="connsiteY7" fmla="*/ 2298779 h 3931816"/>
                <a:gd name="connsiteX8" fmla="*/ 1 w 2520158"/>
                <a:gd name="connsiteY8" fmla="*/ 2298779 h 3931816"/>
                <a:gd name="connsiteX9" fmla="*/ 1 w 2520158"/>
                <a:gd name="connsiteY9" fmla="*/ 1633037 h 3931816"/>
                <a:gd name="connsiteX10" fmla="*/ 1 w 2520158"/>
                <a:gd name="connsiteY10" fmla="*/ 946497 h 3931816"/>
                <a:gd name="connsiteX11" fmla="*/ 1 w 2520158"/>
                <a:gd name="connsiteY11" fmla="*/ 544895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034729 h 3931816"/>
                <a:gd name="connsiteX5" fmla="*/ 2520157 w 2520158"/>
                <a:gd name="connsiteY5" fmla="*/ 3931816 h 3931816"/>
                <a:gd name="connsiteX6" fmla="*/ 0 w 2520158"/>
                <a:gd name="connsiteY6" fmla="*/ 3386922 h 3931816"/>
                <a:gd name="connsiteX7" fmla="*/ 0 w 2520158"/>
                <a:gd name="connsiteY7" fmla="*/ 2298779 h 3931816"/>
                <a:gd name="connsiteX8" fmla="*/ 1 w 2520158"/>
                <a:gd name="connsiteY8" fmla="*/ 2298779 h 3931816"/>
                <a:gd name="connsiteX9" fmla="*/ 1 w 2520158"/>
                <a:gd name="connsiteY9" fmla="*/ 1633037 h 3931816"/>
                <a:gd name="connsiteX10" fmla="*/ 1 w 2520158"/>
                <a:gd name="connsiteY10" fmla="*/ 544895 h 3931816"/>
                <a:gd name="connsiteX11" fmla="*/ 2520158 w 2520158"/>
                <a:gd name="connsiteY11" fmla="*/ 0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034729 h 3931816"/>
                <a:gd name="connsiteX5" fmla="*/ 2520157 w 2520158"/>
                <a:gd name="connsiteY5" fmla="*/ 3931816 h 3931816"/>
                <a:gd name="connsiteX6" fmla="*/ 0 w 2520158"/>
                <a:gd name="connsiteY6" fmla="*/ 3386922 h 3931816"/>
                <a:gd name="connsiteX7" fmla="*/ 0 w 2520158"/>
                <a:gd name="connsiteY7" fmla="*/ 2298779 h 3931816"/>
                <a:gd name="connsiteX8" fmla="*/ 1 w 2520158"/>
                <a:gd name="connsiteY8" fmla="*/ 2298779 h 3931816"/>
                <a:gd name="connsiteX9" fmla="*/ 1 w 2520158"/>
                <a:gd name="connsiteY9" fmla="*/ 544895 h 3931816"/>
                <a:gd name="connsiteX10" fmla="*/ 2520158 w 2520158"/>
                <a:gd name="connsiteY10" fmla="*/ 0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034729 h 3931816"/>
                <a:gd name="connsiteX5" fmla="*/ 2520157 w 2520158"/>
                <a:gd name="connsiteY5" fmla="*/ 3931816 h 3931816"/>
                <a:gd name="connsiteX6" fmla="*/ 0 w 2520158"/>
                <a:gd name="connsiteY6" fmla="*/ 3386922 h 3931816"/>
                <a:gd name="connsiteX7" fmla="*/ 0 w 2520158"/>
                <a:gd name="connsiteY7" fmla="*/ 2298779 h 3931816"/>
                <a:gd name="connsiteX8" fmla="*/ 1 w 2520158"/>
                <a:gd name="connsiteY8" fmla="*/ 544895 h 3931816"/>
                <a:gd name="connsiteX9" fmla="*/ 2520158 w 2520158"/>
                <a:gd name="connsiteY9" fmla="*/ 0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931816 h 3931816"/>
                <a:gd name="connsiteX5" fmla="*/ 0 w 2520158"/>
                <a:gd name="connsiteY5" fmla="*/ 3386922 h 3931816"/>
                <a:gd name="connsiteX6" fmla="*/ 0 w 2520158"/>
                <a:gd name="connsiteY6" fmla="*/ 2298779 h 3931816"/>
                <a:gd name="connsiteX7" fmla="*/ 1 w 2520158"/>
                <a:gd name="connsiteY7" fmla="*/ 544895 h 3931816"/>
                <a:gd name="connsiteX8" fmla="*/ 2520158 w 2520158"/>
                <a:gd name="connsiteY8" fmla="*/ 0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3034729 h 3931816"/>
                <a:gd name="connsiteX3" fmla="*/ 2520157 w 2520158"/>
                <a:gd name="connsiteY3" fmla="*/ 3931816 h 3931816"/>
                <a:gd name="connsiteX4" fmla="*/ 0 w 2520158"/>
                <a:gd name="connsiteY4" fmla="*/ 3386922 h 3931816"/>
                <a:gd name="connsiteX5" fmla="*/ 0 w 2520158"/>
                <a:gd name="connsiteY5" fmla="*/ 2298779 h 3931816"/>
                <a:gd name="connsiteX6" fmla="*/ 1 w 2520158"/>
                <a:gd name="connsiteY6" fmla="*/ 544895 h 3931816"/>
                <a:gd name="connsiteX7" fmla="*/ 2520158 w 2520158"/>
                <a:gd name="connsiteY7" fmla="*/ 0 h 3931816"/>
                <a:gd name="connsiteX0" fmla="*/ 2520158 w 2520158"/>
                <a:gd name="connsiteY0" fmla="*/ 0 h 3931816"/>
                <a:gd name="connsiteX1" fmla="*/ 2520158 w 2520158"/>
                <a:gd name="connsiteY1" fmla="*/ 3034729 h 3931816"/>
                <a:gd name="connsiteX2" fmla="*/ 2520157 w 2520158"/>
                <a:gd name="connsiteY2" fmla="*/ 3931816 h 3931816"/>
                <a:gd name="connsiteX3" fmla="*/ 0 w 2520158"/>
                <a:gd name="connsiteY3" fmla="*/ 3386922 h 3931816"/>
                <a:gd name="connsiteX4" fmla="*/ 0 w 2520158"/>
                <a:gd name="connsiteY4" fmla="*/ 2298779 h 3931816"/>
                <a:gd name="connsiteX5" fmla="*/ 1 w 2520158"/>
                <a:gd name="connsiteY5" fmla="*/ 544895 h 3931816"/>
                <a:gd name="connsiteX6" fmla="*/ 2520158 w 2520158"/>
                <a:gd name="connsiteY6" fmla="*/ 0 h 3931816"/>
                <a:gd name="connsiteX0" fmla="*/ 2520158 w 2520158"/>
                <a:gd name="connsiteY0" fmla="*/ 0 h 3931816"/>
                <a:gd name="connsiteX1" fmla="*/ 2520157 w 2520158"/>
                <a:gd name="connsiteY1" fmla="*/ 3931816 h 3931816"/>
                <a:gd name="connsiteX2" fmla="*/ 0 w 2520158"/>
                <a:gd name="connsiteY2" fmla="*/ 3386922 h 3931816"/>
                <a:gd name="connsiteX3" fmla="*/ 0 w 2520158"/>
                <a:gd name="connsiteY3" fmla="*/ 2298779 h 3931816"/>
                <a:gd name="connsiteX4" fmla="*/ 1 w 2520158"/>
                <a:gd name="connsiteY4" fmla="*/ 544895 h 3931816"/>
                <a:gd name="connsiteX5" fmla="*/ 2520158 w 2520158"/>
                <a:gd name="connsiteY5" fmla="*/ 0 h 3931816"/>
                <a:gd name="connsiteX0" fmla="*/ 2520158 w 2520158"/>
                <a:gd name="connsiteY0" fmla="*/ 0 h 3931816"/>
                <a:gd name="connsiteX1" fmla="*/ 2520157 w 2520158"/>
                <a:gd name="connsiteY1" fmla="*/ 3931816 h 3931816"/>
                <a:gd name="connsiteX2" fmla="*/ 0 w 2520158"/>
                <a:gd name="connsiteY2" fmla="*/ 3386922 h 3931816"/>
                <a:gd name="connsiteX3" fmla="*/ 1 w 2520158"/>
                <a:gd name="connsiteY3" fmla="*/ 544895 h 3931816"/>
                <a:gd name="connsiteX4" fmla="*/ 2520158 w 2520158"/>
                <a:gd name="connsiteY4" fmla="*/ 0 h 3931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0158" h="3931816">
                  <a:moveTo>
                    <a:pt x="2520158" y="0"/>
                  </a:moveTo>
                  <a:cubicBezTo>
                    <a:pt x="2520158" y="1310605"/>
                    <a:pt x="2520157" y="2621211"/>
                    <a:pt x="2520157" y="3931816"/>
                  </a:cubicBezTo>
                  <a:lnTo>
                    <a:pt x="0" y="3386922"/>
                  </a:lnTo>
                  <a:cubicBezTo>
                    <a:pt x="0" y="2439580"/>
                    <a:pt x="1" y="1492237"/>
                    <a:pt x="1" y="544895"/>
                  </a:cubicBezTo>
                  <a:lnTo>
                    <a:pt x="2520158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ihandform: Form 21">
              <a:extLst>
                <a:ext uri="{FF2B5EF4-FFF2-40B4-BE49-F238E27FC236}">
                  <a16:creationId xmlns:a16="http://schemas.microsoft.com/office/drawing/2014/main" id="{20E7B7D9-27AE-93CB-118D-F643EC97C243}"/>
                </a:ext>
              </a:extLst>
            </p:cNvPr>
            <p:cNvSpPr>
              <a:spLocks/>
            </p:cNvSpPr>
            <p:nvPr/>
          </p:nvSpPr>
          <p:spPr bwMode="gray">
            <a:xfrm flipH="1">
              <a:off x="8652665" y="2060358"/>
              <a:ext cx="2556670" cy="3489672"/>
            </a:xfrm>
            <a:custGeom>
              <a:avLst/>
              <a:gdLst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034729 h 3931816"/>
                <a:gd name="connsiteX5" fmla="*/ 2520157 w 2520158"/>
                <a:gd name="connsiteY5" fmla="*/ 3931816 h 3931816"/>
                <a:gd name="connsiteX6" fmla="*/ 0 w 2520158"/>
                <a:gd name="connsiteY6" fmla="*/ 3386922 h 3931816"/>
                <a:gd name="connsiteX7" fmla="*/ 0 w 2520158"/>
                <a:gd name="connsiteY7" fmla="*/ 2298779 h 3931816"/>
                <a:gd name="connsiteX8" fmla="*/ 1 w 2520158"/>
                <a:gd name="connsiteY8" fmla="*/ 2298779 h 3931816"/>
                <a:gd name="connsiteX9" fmla="*/ 1 w 2520158"/>
                <a:gd name="connsiteY9" fmla="*/ 1633037 h 3931816"/>
                <a:gd name="connsiteX10" fmla="*/ 1 w 2520158"/>
                <a:gd name="connsiteY10" fmla="*/ 946497 h 3931816"/>
                <a:gd name="connsiteX11" fmla="*/ 1 w 2520158"/>
                <a:gd name="connsiteY11" fmla="*/ 544895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034729 h 3931816"/>
                <a:gd name="connsiteX5" fmla="*/ 2520157 w 2520158"/>
                <a:gd name="connsiteY5" fmla="*/ 3931816 h 3931816"/>
                <a:gd name="connsiteX6" fmla="*/ 0 w 2520158"/>
                <a:gd name="connsiteY6" fmla="*/ 3386922 h 3931816"/>
                <a:gd name="connsiteX7" fmla="*/ 0 w 2520158"/>
                <a:gd name="connsiteY7" fmla="*/ 2298779 h 3931816"/>
                <a:gd name="connsiteX8" fmla="*/ 1 w 2520158"/>
                <a:gd name="connsiteY8" fmla="*/ 2298779 h 3931816"/>
                <a:gd name="connsiteX9" fmla="*/ 1 w 2520158"/>
                <a:gd name="connsiteY9" fmla="*/ 1633037 h 3931816"/>
                <a:gd name="connsiteX10" fmla="*/ 1 w 2520158"/>
                <a:gd name="connsiteY10" fmla="*/ 544895 h 3931816"/>
                <a:gd name="connsiteX11" fmla="*/ 2520158 w 2520158"/>
                <a:gd name="connsiteY11" fmla="*/ 0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034729 h 3931816"/>
                <a:gd name="connsiteX5" fmla="*/ 2520157 w 2520158"/>
                <a:gd name="connsiteY5" fmla="*/ 3931816 h 3931816"/>
                <a:gd name="connsiteX6" fmla="*/ 0 w 2520158"/>
                <a:gd name="connsiteY6" fmla="*/ 3386922 h 3931816"/>
                <a:gd name="connsiteX7" fmla="*/ 0 w 2520158"/>
                <a:gd name="connsiteY7" fmla="*/ 2298779 h 3931816"/>
                <a:gd name="connsiteX8" fmla="*/ 1 w 2520158"/>
                <a:gd name="connsiteY8" fmla="*/ 2298779 h 3931816"/>
                <a:gd name="connsiteX9" fmla="*/ 1 w 2520158"/>
                <a:gd name="connsiteY9" fmla="*/ 544895 h 3931816"/>
                <a:gd name="connsiteX10" fmla="*/ 2520158 w 2520158"/>
                <a:gd name="connsiteY10" fmla="*/ 0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034729 h 3931816"/>
                <a:gd name="connsiteX5" fmla="*/ 2520157 w 2520158"/>
                <a:gd name="connsiteY5" fmla="*/ 3931816 h 3931816"/>
                <a:gd name="connsiteX6" fmla="*/ 0 w 2520158"/>
                <a:gd name="connsiteY6" fmla="*/ 3386922 h 3931816"/>
                <a:gd name="connsiteX7" fmla="*/ 0 w 2520158"/>
                <a:gd name="connsiteY7" fmla="*/ 2298779 h 3931816"/>
                <a:gd name="connsiteX8" fmla="*/ 1 w 2520158"/>
                <a:gd name="connsiteY8" fmla="*/ 544895 h 3931816"/>
                <a:gd name="connsiteX9" fmla="*/ 2520158 w 2520158"/>
                <a:gd name="connsiteY9" fmla="*/ 0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931816 h 3931816"/>
                <a:gd name="connsiteX5" fmla="*/ 0 w 2520158"/>
                <a:gd name="connsiteY5" fmla="*/ 3386922 h 3931816"/>
                <a:gd name="connsiteX6" fmla="*/ 0 w 2520158"/>
                <a:gd name="connsiteY6" fmla="*/ 2298779 h 3931816"/>
                <a:gd name="connsiteX7" fmla="*/ 1 w 2520158"/>
                <a:gd name="connsiteY7" fmla="*/ 544895 h 3931816"/>
                <a:gd name="connsiteX8" fmla="*/ 2520158 w 2520158"/>
                <a:gd name="connsiteY8" fmla="*/ 0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3034729 h 3931816"/>
                <a:gd name="connsiteX3" fmla="*/ 2520157 w 2520158"/>
                <a:gd name="connsiteY3" fmla="*/ 3931816 h 3931816"/>
                <a:gd name="connsiteX4" fmla="*/ 0 w 2520158"/>
                <a:gd name="connsiteY4" fmla="*/ 3386922 h 3931816"/>
                <a:gd name="connsiteX5" fmla="*/ 0 w 2520158"/>
                <a:gd name="connsiteY5" fmla="*/ 2298779 h 3931816"/>
                <a:gd name="connsiteX6" fmla="*/ 1 w 2520158"/>
                <a:gd name="connsiteY6" fmla="*/ 544895 h 3931816"/>
                <a:gd name="connsiteX7" fmla="*/ 2520158 w 2520158"/>
                <a:gd name="connsiteY7" fmla="*/ 0 h 3931816"/>
                <a:gd name="connsiteX0" fmla="*/ 2520158 w 2520158"/>
                <a:gd name="connsiteY0" fmla="*/ 0 h 3931816"/>
                <a:gd name="connsiteX1" fmla="*/ 2520158 w 2520158"/>
                <a:gd name="connsiteY1" fmla="*/ 3034729 h 3931816"/>
                <a:gd name="connsiteX2" fmla="*/ 2520157 w 2520158"/>
                <a:gd name="connsiteY2" fmla="*/ 3931816 h 3931816"/>
                <a:gd name="connsiteX3" fmla="*/ 0 w 2520158"/>
                <a:gd name="connsiteY3" fmla="*/ 3386922 h 3931816"/>
                <a:gd name="connsiteX4" fmla="*/ 0 w 2520158"/>
                <a:gd name="connsiteY4" fmla="*/ 2298779 h 3931816"/>
                <a:gd name="connsiteX5" fmla="*/ 1 w 2520158"/>
                <a:gd name="connsiteY5" fmla="*/ 544895 h 3931816"/>
                <a:gd name="connsiteX6" fmla="*/ 2520158 w 2520158"/>
                <a:gd name="connsiteY6" fmla="*/ 0 h 3931816"/>
                <a:gd name="connsiteX0" fmla="*/ 2520158 w 2520158"/>
                <a:gd name="connsiteY0" fmla="*/ 0 h 3931816"/>
                <a:gd name="connsiteX1" fmla="*/ 2520157 w 2520158"/>
                <a:gd name="connsiteY1" fmla="*/ 3931816 h 3931816"/>
                <a:gd name="connsiteX2" fmla="*/ 0 w 2520158"/>
                <a:gd name="connsiteY2" fmla="*/ 3386922 h 3931816"/>
                <a:gd name="connsiteX3" fmla="*/ 0 w 2520158"/>
                <a:gd name="connsiteY3" fmla="*/ 2298779 h 3931816"/>
                <a:gd name="connsiteX4" fmla="*/ 1 w 2520158"/>
                <a:gd name="connsiteY4" fmla="*/ 544895 h 3931816"/>
                <a:gd name="connsiteX5" fmla="*/ 2520158 w 2520158"/>
                <a:gd name="connsiteY5" fmla="*/ 0 h 3931816"/>
                <a:gd name="connsiteX0" fmla="*/ 2520158 w 2520158"/>
                <a:gd name="connsiteY0" fmla="*/ 0 h 3931816"/>
                <a:gd name="connsiteX1" fmla="*/ 2520157 w 2520158"/>
                <a:gd name="connsiteY1" fmla="*/ 3931816 h 3931816"/>
                <a:gd name="connsiteX2" fmla="*/ 0 w 2520158"/>
                <a:gd name="connsiteY2" fmla="*/ 3386922 h 3931816"/>
                <a:gd name="connsiteX3" fmla="*/ 1 w 2520158"/>
                <a:gd name="connsiteY3" fmla="*/ 544895 h 3931816"/>
                <a:gd name="connsiteX4" fmla="*/ 2520158 w 2520158"/>
                <a:gd name="connsiteY4" fmla="*/ 0 h 3931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0158" h="3931816">
                  <a:moveTo>
                    <a:pt x="2520158" y="0"/>
                  </a:moveTo>
                  <a:cubicBezTo>
                    <a:pt x="2520158" y="1310605"/>
                    <a:pt x="2520157" y="2621211"/>
                    <a:pt x="2520157" y="3931816"/>
                  </a:cubicBezTo>
                  <a:lnTo>
                    <a:pt x="0" y="3386922"/>
                  </a:lnTo>
                  <a:cubicBezTo>
                    <a:pt x="0" y="2439580"/>
                    <a:pt x="1" y="1492237"/>
                    <a:pt x="1" y="544895"/>
                  </a:cubicBezTo>
                  <a:lnTo>
                    <a:pt x="2520158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ihandform: Form 18">
              <a:extLst>
                <a:ext uri="{FF2B5EF4-FFF2-40B4-BE49-F238E27FC236}">
                  <a16:creationId xmlns:a16="http://schemas.microsoft.com/office/drawing/2014/main" id="{1D5EE4FD-E8A4-C0E3-569B-A5B633B2CE6A}"/>
                </a:ext>
              </a:extLst>
            </p:cNvPr>
            <p:cNvSpPr>
              <a:spLocks/>
            </p:cNvSpPr>
            <p:nvPr/>
          </p:nvSpPr>
          <p:spPr bwMode="gray">
            <a:xfrm>
              <a:off x="982665" y="2060358"/>
              <a:ext cx="2556670" cy="3489672"/>
            </a:xfrm>
            <a:custGeom>
              <a:avLst/>
              <a:gdLst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034729 h 3931816"/>
                <a:gd name="connsiteX5" fmla="*/ 2520157 w 2520158"/>
                <a:gd name="connsiteY5" fmla="*/ 3931816 h 3931816"/>
                <a:gd name="connsiteX6" fmla="*/ 0 w 2520158"/>
                <a:gd name="connsiteY6" fmla="*/ 3386922 h 3931816"/>
                <a:gd name="connsiteX7" fmla="*/ 0 w 2520158"/>
                <a:gd name="connsiteY7" fmla="*/ 2298779 h 3931816"/>
                <a:gd name="connsiteX8" fmla="*/ 1 w 2520158"/>
                <a:gd name="connsiteY8" fmla="*/ 2298779 h 3931816"/>
                <a:gd name="connsiteX9" fmla="*/ 1 w 2520158"/>
                <a:gd name="connsiteY9" fmla="*/ 1633037 h 3931816"/>
                <a:gd name="connsiteX10" fmla="*/ 1 w 2520158"/>
                <a:gd name="connsiteY10" fmla="*/ 946497 h 3931816"/>
                <a:gd name="connsiteX11" fmla="*/ 1 w 2520158"/>
                <a:gd name="connsiteY11" fmla="*/ 544895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034729 h 3931816"/>
                <a:gd name="connsiteX5" fmla="*/ 2520157 w 2520158"/>
                <a:gd name="connsiteY5" fmla="*/ 3931816 h 3931816"/>
                <a:gd name="connsiteX6" fmla="*/ 0 w 2520158"/>
                <a:gd name="connsiteY6" fmla="*/ 3386922 h 3931816"/>
                <a:gd name="connsiteX7" fmla="*/ 0 w 2520158"/>
                <a:gd name="connsiteY7" fmla="*/ 2298779 h 3931816"/>
                <a:gd name="connsiteX8" fmla="*/ 1 w 2520158"/>
                <a:gd name="connsiteY8" fmla="*/ 2298779 h 3931816"/>
                <a:gd name="connsiteX9" fmla="*/ 1 w 2520158"/>
                <a:gd name="connsiteY9" fmla="*/ 1633037 h 3931816"/>
                <a:gd name="connsiteX10" fmla="*/ 1 w 2520158"/>
                <a:gd name="connsiteY10" fmla="*/ 544895 h 3931816"/>
                <a:gd name="connsiteX11" fmla="*/ 2520158 w 2520158"/>
                <a:gd name="connsiteY11" fmla="*/ 0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034729 h 3931816"/>
                <a:gd name="connsiteX5" fmla="*/ 2520157 w 2520158"/>
                <a:gd name="connsiteY5" fmla="*/ 3931816 h 3931816"/>
                <a:gd name="connsiteX6" fmla="*/ 0 w 2520158"/>
                <a:gd name="connsiteY6" fmla="*/ 3386922 h 3931816"/>
                <a:gd name="connsiteX7" fmla="*/ 0 w 2520158"/>
                <a:gd name="connsiteY7" fmla="*/ 2298779 h 3931816"/>
                <a:gd name="connsiteX8" fmla="*/ 1 w 2520158"/>
                <a:gd name="connsiteY8" fmla="*/ 2298779 h 3931816"/>
                <a:gd name="connsiteX9" fmla="*/ 1 w 2520158"/>
                <a:gd name="connsiteY9" fmla="*/ 544895 h 3931816"/>
                <a:gd name="connsiteX10" fmla="*/ 2520158 w 2520158"/>
                <a:gd name="connsiteY10" fmla="*/ 0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034729 h 3931816"/>
                <a:gd name="connsiteX5" fmla="*/ 2520157 w 2520158"/>
                <a:gd name="connsiteY5" fmla="*/ 3931816 h 3931816"/>
                <a:gd name="connsiteX6" fmla="*/ 0 w 2520158"/>
                <a:gd name="connsiteY6" fmla="*/ 3386922 h 3931816"/>
                <a:gd name="connsiteX7" fmla="*/ 0 w 2520158"/>
                <a:gd name="connsiteY7" fmla="*/ 2298779 h 3931816"/>
                <a:gd name="connsiteX8" fmla="*/ 1 w 2520158"/>
                <a:gd name="connsiteY8" fmla="*/ 544895 h 3931816"/>
                <a:gd name="connsiteX9" fmla="*/ 2520158 w 2520158"/>
                <a:gd name="connsiteY9" fmla="*/ 0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931816 h 3931816"/>
                <a:gd name="connsiteX5" fmla="*/ 0 w 2520158"/>
                <a:gd name="connsiteY5" fmla="*/ 3386922 h 3931816"/>
                <a:gd name="connsiteX6" fmla="*/ 0 w 2520158"/>
                <a:gd name="connsiteY6" fmla="*/ 2298779 h 3931816"/>
                <a:gd name="connsiteX7" fmla="*/ 1 w 2520158"/>
                <a:gd name="connsiteY7" fmla="*/ 544895 h 3931816"/>
                <a:gd name="connsiteX8" fmla="*/ 2520158 w 2520158"/>
                <a:gd name="connsiteY8" fmla="*/ 0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3034729 h 3931816"/>
                <a:gd name="connsiteX3" fmla="*/ 2520157 w 2520158"/>
                <a:gd name="connsiteY3" fmla="*/ 3931816 h 3931816"/>
                <a:gd name="connsiteX4" fmla="*/ 0 w 2520158"/>
                <a:gd name="connsiteY4" fmla="*/ 3386922 h 3931816"/>
                <a:gd name="connsiteX5" fmla="*/ 0 w 2520158"/>
                <a:gd name="connsiteY5" fmla="*/ 2298779 h 3931816"/>
                <a:gd name="connsiteX6" fmla="*/ 1 w 2520158"/>
                <a:gd name="connsiteY6" fmla="*/ 544895 h 3931816"/>
                <a:gd name="connsiteX7" fmla="*/ 2520158 w 2520158"/>
                <a:gd name="connsiteY7" fmla="*/ 0 h 3931816"/>
                <a:gd name="connsiteX0" fmla="*/ 2520158 w 2520158"/>
                <a:gd name="connsiteY0" fmla="*/ 0 h 3931816"/>
                <a:gd name="connsiteX1" fmla="*/ 2520158 w 2520158"/>
                <a:gd name="connsiteY1" fmla="*/ 3034729 h 3931816"/>
                <a:gd name="connsiteX2" fmla="*/ 2520157 w 2520158"/>
                <a:gd name="connsiteY2" fmla="*/ 3931816 h 3931816"/>
                <a:gd name="connsiteX3" fmla="*/ 0 w 2520158"/>
                <a:gd name="connsiteY3" fmla="*/ 3386922 h 3931816"/>
                <a:gd name="connsiteX4" fmla="*/ 0 w 2520158"/>
                <a:gd name="connsiteY4" fmla="*/ 2298779 h 3931816"/>
                <a:gd name="connsiteX5" fmla="*/ 1 w 2520158"/>
                <a:gd name="connsiteY5" fmla="*/ 544895 h 3931816"/>
                <a:gd name="connsiteX6" fmla="*/ 2520158 w 2520158"/>
                <a:gd name="connsiteY6" fmla="*/ 0 h 3931816"/>
                <a:gd name="connsiteX0" fmla="*/ 2520158 w 2520158"/>
                <a:gd name="connsiteY0" fmla="*/ 0 h 3931816"/>
                <a:gd name="connsiteX1" fmla="*/ 2520157 w 2520158"/>
                <a:gd name="connsiteY1" fmla="*/ 3931816 h 3931816"/>
                <a:gd name="connsiteX2" fmla="*/ 0 w 2520158"/>
                <a:gd name="connsiteY2" fmla="*/ 3386922 h 3931816"/>
                <a:gd name="connsiteX3" fmla="*/ 0 w 2520158"/>
                <a:gd name="connsiteY3" fmla="*/ 2298779 h 3931816"/>
                <a:gd name="connsiteX4" fmla="*/ 1 w 2520158"/>
                <a:gd name="connsiteY4" fmla="*/ 544895 h 3931816"/>
                <a:gd name="connsiteX5" fmla="*/ 2520158 w 2520158"/>
                <a:gd name="connsiteY5" fmla="*/ 0 h 3931816"/>
                <a:gd name="connsiteX0" fmla="*/ 2520158 w 2520158"/>
                <a:gd name="connsiteY0" fmla="*/ 0 h 3931816"/>
                <a:gd name="connsiteX1" fmla="*/ 2520157 w 2520158"/>
                <a:gd name="connsiteY1" fmla="*/ 3931816 h 3931816"/>
                <a:gd name="connsiteX2" fmla="*/ 0 w 2520158"/>
                <a:gd name="connsiteY2" fmla="*/ 3386922 h 3931816"/>
                <a:gd name="connsiteX3" fmla="*/ 1 w 2520158"/>
                <a:gd name="connsiteY3" fmla="*/ 544895 h 3931816"/>
                <a:gd name="connsiteX4" fmla="*/ 2520158 w 2520158"/>
                <a:gd name="connsiteY4" fmla="*/ 0 h 3931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0158" h="3931816">
                  <a:moveTo>
                    <a:pt x="2520158" y="0"/>
                  </a:moveTo>
                  <a:cubicBezTo>
                    <a:pt x="2520158" y="1310605"/>
                    <a:pt x="2520157" y="2621211"/>
                    <a:pt x="2520157" y="3931816"/>
                  </a:cubicBezTo>
                  <a:lnTo>
                    <a:pt x="0" y="3386922"/>
                  </a:lnTo>
                  <a:cubicBezTo>
                    <a:pt x="0" y="2439580"/>
                    <a:pt x="1" y="1492237"/>
                    <a:pt x="1" y="544895"/>
                  </a:cubicBezTo>
                  <a:lnTo>
                    <a:pt x="2520158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ihandform: Form 19">
              <a:extLst>
                <a:ext uri="{FF2B5EF4-FFF2-40B4-BE49-F238E27FC236}">
                  <a16:creationId xmlns:a16="http://schemas.microsoft.com/office/drawing/2014/main" id="{9A5FA058-2CEB-B3B9-C8C2-CA4B6352F1A3}"/>
                </a:ext>
              </a:extLst>
            </p:cNvPr>
            <p:cNvSpPr>
              <a:spLocks/>
            </p:cNvSpPr>
            <p:nvPr/>
          </p:nvSpPr>
          <p:spPr bwMode="gray">
            <a:xfrm flipH="1">
              <a:off x="3539330" y="2060358"/>
              <a:ext cx="2556670" cy="3489672"/>
            </a:xfrm>
            <a:custGeom>
              <a:avLst/>
              <a:gdLst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034729 h 3931816"/>
                <a:gd name="connsiteX5" fmla="*/ 2520157 w 2520158"/>
                <a:gd name="connsiteY5" fmla="*/ 3931816 h 3931816"/>
                <a:gd name="connsiteX6" fmla="*/ 0 w 2520158"/>
                <a:gd name="connsiteY6" fmla="*/ 3386922 h 3931816"/>
                <a:gd name="connsiteX7" fmla="*/ 0 w 2520158"/>
                <a:gd name="connsiteY7" fmla="*/ 2298779 h 3931816"/>
                <a:gd name="connsiteX8" fmla="*/ 1 w 2520158"/>
                <a:gd name="connsiteY8" fmla="*/ 2298779 h 3931816"/>
                <a:gd name="connsiteX9" fmla="*/ 1 w 2520158"/>
                <a:gd name="connsiteY9" fmla="*/ 1633037 h 3931816"/>
                <a:gd name="connsiteX10" fmla="*/ 1 w 2520158"/>
                <a:gd name="connsiteY10" fmla="*/ 946497 h 3931816"/>
                <a:gd name="connsiteX11" fmla="*/ 1 w 2520158"/>
                <a:gd name="connsiteY11" fmla="*/ 544895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034729 h 3931816"/>
                <a:gd name="connsiteX5" fmla="*/ 2520157 w 2520158"/>
                <a:gd name="connsiteY5" fmla="*/ 3931816 h 3931816"/>
                <a:gd name="connsiteX6" fmla="*/ 0 w 2520158"/>
                <a:gd name="connsiteY6" fmla="*/ 3386922 h 3931816"/>
                <a:gd name="connsiteX7" fmla="*/ 0 w 2520158"/>
                <a:gd name="connsiteY7" fmla="*/ 2298779 h 3931816"/>
                <a:gd name="connsiteX8" fmla="*/ 1 w 2520158"/>
                <a:gd name="connsiteY8" fmla="*/ 2298779 h 3931816"/>
                <a:gd name="connsiteX9" fmla="*/ 1 w 2520158"/>
                <a:gd name="connsiteY9" fmla="*/ 1633037 h 3931816"/>
                <a:gd name="connsiteX10" fmla="*/ 1 w 2520158"/>
                <a:gd name="connsiteY10" fmla="*/ 544895 h 3931816"/>
                <a:gd name="connsiteX11" fmla="*/ 2520158 w 2520158"/>
                <a:gd name="connsiteY11" fmla="*/ 0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034729 h 3931816"/>
                <a:gd name="connsiteX5" fmla="*/ 2520157 w 2520158"/>
                <a:gd name="connsiteY5" fmla="*/ 3931816 h 3931816"/>
                <a:gd name="connsiteX6" fmla="*/ 0 w 2520158"/>
                <a:gd name="connsiteY6" fmla="*/ 3386922 h 3931816"/>
                <a:gd name="connsiteX7" fmla="*/ 0 w 2520158"/>
                <a:gd name="connsiteY7" fmla="*/ 2298779 h 3931816"/>
                <a:gd name="connsiteX8" fmla="*/ 1 w 2520158"/>
                <a:gd name="connsiteY8" fmla="*/ 2298779 h 3931816"/>
                <a:gd name="connsiteX9" fmla="*/ 1 w 2520158"/>
                <a:gd name="connsiteY9" fmla="*/ 544895 h 3931816"/>
                <a:gd name="connsiteX10" fmla="*/ 2520158 w 2520158"/>
                <a:gd name="connsiteY10" fmla="*/ 0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034729 h 3931816"/>
                <a:gd name="connsiteX5" fmla="*/ 2520157 w 2520158"/>
                <a:gd name="connsiteY5" fmla="*/ 3931816 h 3931816"/>
                <a:gd name="connsiteX6" fmla="*/ 0 w 2520158"/>
                <a:gd name="connsiteY6" fmla="*/ 3386922 h 3931816"/>
                <a:gd name="connsiteX7" fmla="*/ 0 w 2520158"/>
                <a:gd name="connsiteY7" fmla="*/ 2298779 h 3931816"/>
                <a:gd name="connsiteX8" fmla="*/ 1 w 2520158"/>
                <a:gd name="connsiteY8" fmla="*/ 544895 h 3931816"/>
                <a:gd name="connsiteX9" fmla="*/ 2520158 w 2520158"/>
                <a:gd name="connsiteY9" fmla="*/ 0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1088143 h 3931816"/>
                <a:gd name="connsiteX3" fmla="*/ 2520158 w 2520158"/>
                <a:gd name="connsiteY3" fmla="*/ 3034729 h 3931816"/>
                <a:gd name="connsiteX4" fmla="*/ 2520157 w 2520158"/>
                <a:gd name="connsiteY4" fmla="*/ 3931816 h 3931816"/>
                <a:gd name="connsiteX5" fmla="*/ 0 w 2520158"/>
                <a:gd name="connsiteY5" fmla="*/ 3386922 h 3931816"/>
                <a:gd name="connsiteX6" fmla="*/ 0 w 2520158"/>
                <a:gd name="connsiteY6" fmla="*/ 2298779 h 3931816"/>
                <a:gd name="connsiteX7" fmla="*/ 1 w 2520158"/>
                <a:gd name="connsiteY7" fmla="*/ 544895 h 3931816"/>
                <a:gd name="connsiteX8" fmla="*/ 2520158 w 2520158"/>
                <a:gd name="connsiteY8" fmla="*/ 0 h 3931816"/>
                <a:gd name="connsiteX0" fmla="*/ 2520158 w 2520158"/>
                <a:gd name="connsiteY0" fmla="*/ 0 h 3931816"/>
                <a:gd name="connsiteX1" fmla="*/ 2520158 w 2520158"/>
                <a:gd name="connsiteY1" fmla="*/ 946497 h 3931816"/>
                <a:gd name="connsiteX2" fmla="*/ 2520158 w 2520158"/>
                <a:gd name="connsiteY2" fmla="*/ 3034729 h 3931816"/>
                <a:gd name="connsiteX3" fmla="*/ 2520157 w 2520158"/>
                <a:gd name="connsiteY3" fmla="*/ 3931816 h 3931816"/>
                <a:gd name="connsiteX4" fmla="*/ 0 w 2520158"/>
                <a:gd name="connsiteY4" fmla="*/ 3386922 h 3931816"/>
                <a:gd name="connsiteX5" fmla="*/ 0 w 2520158"/>
                <a:gd name="connsiteY5" fmla="*/ 2298779 h 3931816"/>
                <a:gd name="connsiteX6" fmla="*/ 1 w 2520158"/>
                <a:gd name="connsiteY6" fmla="*/ 544895 h 3931816"/>
                <a:gd name="connsiteX7" fmla="*/ 2520158 w 2520158"/>
                <a:gd name="connsiteY7" fmla="*/ 0 h 3931816"/>
                <a:gd name="connsiteX0" fmla="*/ 2520158 w 2520158"/>
                <a:gd name="connsiteY0" fmla="*/ 0 h 3931816"/>
                <a:gd name="connsiteX1" fmla="*/ 2520158 w 2520158"/>
                <a:gd name="connsiteY1" fmla="*/ 3034729 h 3931816"/>
                <a:gd name="connsiteX2" fmla="*/ 2520157 w 2520158"/>
                <a:gd name="connsiteY2" fmla="*/ 3931816 h 3931816"/>
                <a:gd name="connsiteX3" fmla="*/ 0 w 2520158"/>
                <a:gd name="connsiteY3" fmla="*/ 3386922 h 3931816"/>
                <a:gd name="connsiteX4" fmla="*/ 0 w 2520158"/>
                <a:gd name="connsiteY4" fmla="*/ 2298779 h 3931816"/>
                <a:gd name="connsiteX5" fmla="*/ 1 w 2520158"/>
                <a:gd name="connsiteY5" fmla="*/ 544895 h 3931816"/>
                <a:gd name="connsiteX6" fmla="*/ 2520158 w 2520158"/>
                <a:gd name="connsiteY6" fmla="*/ 0 h 3931816"/>
                <a:gd name="connsiteX0" fmla="*/ 2520158 w 2520158"/>
                <a:gd name="connsiteY0" fmla="*/ 0 h 3931816"/>
                <a:gd name="connsiteX1" fmla="*/ 2520157 w 2520158"/>
                <a:gd name="connsiteY1" fmla="*/ 3931816 h 3931816"/>
                <a:gd name="connsiteX2" fmla="*/ 0 w 2520158"/>
                <a:gd name="connsiteY2" fmla="*/ 3386922 h 3931816"/>
                <a:gd name="connsiteX3" fmla="*/ 0 w 2520158"/>
                <a:gd name="connsiteY3" fmla="*/ 2298779 h 3931816"/>
                <a:gd name="connsiteX4" fmla="*/ 1 w 2520158"/>
                <a:gd name="connsiteY4" fmla="*/ 544895 h 3931816"/>
                <a:gd name="connsiteX5" fmla="*/ 2520158 w 2520158"/>
                <a:gd name="connsiteY5" fmla="*/ 0 h 3931816"/>
                <a:gd name="connsiteX0" fmla="*/ 2520158 w 2520158"/>
                <a:gd name="connsiteY0" fmla="*/ 0 h 3931816"/>
                <a:gd name="connsiteX1" fmla="*/ 2520157 w 2520158"/>
                <a:gd name="connsiteY1" fmla="*/ 3931816 h 3931816"/>
                <a:gd name="connsiteX2" fmla="*/ 0 w 2520158"/>
                <a:gd name="connsiteY2" fmla="*/ 3386922 h 3931816"/>
                <a:gd name="connsiteX3" fmla="*/ 1 w 2520158"/>
                <a:gd name="connsiteY3" fmla="*/ 544895 h 3931816"/>
                <a:gd name="connsiteX4" fmla="*/ 2520158 w 2520158"/>
                <a:gd name="connsiteY4" fmla="*/ 0 h 3931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0158" h="3931816">
                  <a:moveTo>
                    <a:pt x="2520158" y="0"/>
                  </a:moveTo>
                  <a:cubicBezTo>
                    <a:pt x="2520158" y="1310605"/>
                    <a:pt x="2520157" y="2621211"/>
                    <a:pt x="2520157" y="3931816"/>
                  </a:cubicBezTo>
                  <a:lnTo>
                    <a:pt x="0" y="3386922"/>
                  </a:lnTo>
                  <a:cubicBezTo>
                    <a:pt x="0" y="2439580"/>
                    <a:pt x="1" y="1492237"/>
                    <a:pt x="1" y="544895"/>
                  </a:cubicBezTo>
                  <a:lnTo>
                    <a:pt x="2520158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Textfeld 6">
              <a:extLst>
                <a:ext uri="{FF2B5EF4-FFF2-40B4-BE49-F238E27FC236}">
                  <a16:creationId xmlns:a16="http://schemas.microsoft.com/office/drawing/2014/main" id="{28F8B429-0E1F-65BC-0FBE-5F05747D33B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64654" y="3711299"/>
              <a:ext cx="2192694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79488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Lorem ipsum dolor sit</a:t>
              </a:r>
              <a:b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</a:b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onsectetur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</a:t>
              </a: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adipisc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  <a:p>
              <a:pPr marL="0" marR="0" lvl="0" indent="0" algn="ctr" defTabSz="979488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ras </a:t>
              </a: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fringilla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</a:t>
              </a: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felis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sit</a:t>
              </a:r>
              <a:b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</a:b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pulvinar ligula</a:t>
              </a:r>
            </a:p>
          </p:txBody>
        </p:sp>
        <p:sp>
          <p:nvSpPr>
            <p:cNvPr id="12" name="Textfeld 7">
              <a:extLst>
                <a:ext uri="{FF2B5EF4-FFF2-40B4-BE49-F238E27FC236}">
                  <a16:creationId xmlns:a16="http://schemas.microsoft.com/office/drawing/2014/main" id="{62DBB118-808C-5BEB-9A11-F1B214C1A48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64655" y="2730525"/>
              <a:ext cx="2192691" cy="6349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7948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rPr>
                <a:t>01.</a:t>
              </a:r>
            </a:p>
          </p:txBody>
        </p:sp>
        <p:sp>
          <p:nvSpPr>
            <p:cNvPr id="13" name="Textfeld 9">
              <a:extLst>
                <a:ext uri="{FF2B5EF4-FFF2-40B4-BE49-F238E27FC236}">
                  <a16:creationId xmlns:a16="http://schemas.microsoft.com/office/drawing/2014/main" id="{957E49B2-571F-DDCA-8220-7545BCBBE46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21323" y="3711299"/>
              <a:ext cx="2192694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79488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Lorem ipsum dolor sit</a:t>
              </a:r>
              <a:b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</a:b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onsectetur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</a:t>
              </a: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adipisc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  <a:p>
              <a:pPr marL="0" marR="0" lvl="0" indent="0" algn="ctr" defTabSz="979488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ras </a:t>
              </a: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fringilla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</a:t>
              </a: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felis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sit</a:t>
              </a:r>
              <a:b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</a:b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pulvinar ligula</a:t>
              </a:r>
            </a:p>
          </p:txBody>
        </p:sp>
        <p:sp>
          <p:nvSpPr>
            <p:cNvPr id="14" name="Textfeld 10">
              <a:extLst>
                <a:ext uri="{FF2B5EF4-FFF2-40B4-BE49-F238E27FC236}">
                  <a16:creationId xmlns:a16="http://schemas.microsoft.com/office/drawing/2014/main" id="{0BCF12B3-BEC1-25C6-0C18-F88760EA554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21324" y="2730525"/>
              <a:ext cx="2192691" cy="6349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7948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rPr>
                <a:t>02.</a:t>
              </a:r>
            </a:p>
          </p:txBody>
        </p:sp>
        <p:sp>
          <p:nvSpPr>
            <p:cNvPr id="15" name="Textfeld 12">
              <a:extLst>
                <a:ext uri="{FF2B5EF4-FFF2-40B4-BE49-F238E27FC236}">
                  <a16:creationId xmlns:a16="http://schemas.microsoft.com/office/drawing/2014/main" id="{056EC6FE-83A6-9F39-60B7-B7BA30E8CBC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77990" y="3711299"/>
              <a:ext cx="2192694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79488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Lorem ipsum dolor sit</a:t>
              </a:r>
              <a:b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</a:b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onsectetur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</a:t>
              </a: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adipisc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  <a:p>
              <a:pPr marL="0" marR="0" lvl="0" indent="0" algn="ctr" defTabSz="979488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ras </a:t>
              </a: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fringilla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</a:t>
              </a: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felis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sit</a:t>
              </a:r>
              <a:b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</a:b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pulvinar ligula</a:t>
              </a:r>
            </a:p>
          </p:txBody>
        </p:sp>
        <p:sp>
          <p:nvSpPr>
            <p:cNvPr id="16" name="Textfeld 13">
              <a:extLst>
                <a:ext uri="{FF2B5EF4-FFF2-40B4-BE49-F238E27FC236}">
                  <a16:creationId xmlns:a16="http://schemas.microsoft.com/office/drawing/2014/main" id="{9B02A536-0F43-8BAC-8596-416F1B16CC0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77992" y="2730525"/>
              <a:ext cx="2192691" cy="6349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7948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rPr>
                <a:t>03.</a:t>
              </a:r>
            </a:p>
          </p:txBody>
        </p:sp>
        <p:sp>
          <p:nvSpPr>
            <p:cNvPr id="17" name="Textfeld 15">
              <a:extLst>
                <a:ext uri="{FF2B5EF4-FFF2-40B4-BE49-F238E27FC236}">
                  <a16:creationId xmlns:a16="http://schemas.microsoft.com/office/drawing/2014/main" id="{9DE10E4D-03DA-FACA-416E-A420C05D5E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34658" y="3711299"/>
              <a:ext cx="2192694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79488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Lorem ipsum dolor sit</a:t>
              </a:r>
              <a:b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</a:b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onsectetur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</a:t>
              </a: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adipisc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  <a:p>
              <a:pPr marL="0" marR="0" lvl="0" indent="0" algn="ctr" defTabSz="979488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ras </a:t>
              </a: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fringilla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</a:t>
              </a: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felis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sit</a:t>
              </a:r>
              <a:b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</a:b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pulvinar ligula</a:t>
              </a:r>
            </a:p>
          </p:txBody>
        </p:sp>
        <p:sp>
          <p:nvSpPr>
            <p:cNvPr id="18" name="Textfeld 16">
              <a:extLst>
                <a:ext uri="{FF2B5EF4-FFF2-40B4-BE49-F238E27FC236}">
                  <a16:creationId xmlns:a16="http://schemas.microsoft.com/office/drawing/2014/main" id="{9BA0F9FD-6FF8-F35E-FD5A-07A82CBB021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34659" y="2730525"/>
              <a:ext cx="2192691" cy="6349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7948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rPr>
                <a:t>04.</a:t>
              </a:r>
            </a:p>
          </p:txBody>
        </p:sp>
        <p:sp>
          <p:nvSpPr>
            <p:cNvPr id="19" name="Textplatzhalter 9">
              <a:extLst>
                <a:ext uri="{FF2B5EF4-FFF2-40B4-BE49-F238E27FC236}">
                  <a16:creationId xmlns:a16="http://schemas.microsoft.com/office/drawing/2014/main" id="{DD77E383-B944-3BD8-DB84-F2AD67A0C5B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64655" y="3305591"/>
              <a:ext cx="2192691" cy="215444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0000"/>
                </a:buClr>
              </a:pPr>
              <a:r>
                <a:rPr lang="en-US" sz="1400">
                  <a:solidFill>
                    <a:schemeClr val="tx2"/>
                  </a:solidFill>
                </a:rPr>
                <a:t>Step</a:t>
              </a:r>
            </a:p>
          </p:txBody>
        </p:sp>
        <p:sp>
          <p:nvSpPr>
            <p:cNvPr id="20" name="Textplatzhalter 9">
              <a:extLst>
                <a:ext uri="{FF2B5EF4-FFF2-40B4-BE49-F238E27FC236}">
                  <a16:creationId xmlns:a16="http://schemas.microsoft.com/office/drawing/2014/main" id="{86E9DBEB-9DA3-0F36-5D43-7DB73D83D53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21319" y="3305591"/>
              <a:ext cx="2192691" cy="215444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0000"/>
                </a:buClr>
              </a:pPr>
              <a:r>
                <a:rPr lang="en-US" sz="1400">
                  <a:solidFill>
                    <a:schemeClr val="tx2"/>
                  </a:solidFill>
                </a:rPr>
                <a:t>Step</a:t>
              </a:r>
            </a:p>
          </p:txBody>
        </p:sp>
        <p:sp>
          <p:nvSpPr>
            <p:cNvPr id="21" name="Textplatzhalter 9">
              <a:extLst>
                <a:ext uri="{FF2B5EF4-FFF2-40B4-BE49-F238E27FC236}">
                  <a16:creationId xmlns:a16="http://schemas.microsoft.com/office/drawing/2014/main" id="{2E54A607-BB86-384B-9F12-7A72D402C59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77983" y="3305591"/>
              <a:ext cx="2192691" cy="215444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0000"/>
                </a:buClr>
              </a:pPr>
              <a:r>
                <a:rPr lang="en-US" sz="1400">
                  <a:solidFill>
                    <a:schemeClr val="tx2"/>
                  </a:solidFill>
                </a:rPr>
                <a:t>Step</a:t>
              </a:r>
            </a:p>
          </p:txBody>
        </p:sp>
        <p:sp>
          <p:nvSpPr>
            <p:cNvPr id="22" name="Textplatzhalter 9">
              <a:extLst>
                <a:ext uri="{FF2B5EF4-FFF2-40B4-BE49-F238E27FC236}">
                  <a16:creationId xmlns:a16="http://schemas.microsoft.com/office/drawing/2014/main" id="{FAF8130D-3348-886F-0F3D-93692EA6EAB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34647" y="3305591"/>
              <a:ext cx="2192691" cy="215444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0000"/>
                </a:buClr>
              </a:pPr>
              <a:r>
                <a:rPr lang="en-US" sz="1400">
                  <a:solidFill>
                    <a:schemeClr val="tx2"/>
                  </a:solidFill>
                </a:rPr>
                <a:t>Step</a:t>
              </a:r>
            </a:p>
          </p:txBody>
        </p:sp>
      </p:grp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7BD3508E-A02E-C535-5578-78406277119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45314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step, process, processes, plan, plans, stage, stages, phase, phases</a:t>
            </a:r>
          </a:p>
        </p:txBody>
      </p:sp>
    </p:spTree>
    <p:extLst>
      <p:ext uri="{BB962C8B-B14F-4D97-AF65-F5344CB8AC3E}">
        <p14:creationId xmlns:p14="http://schemas.microsoft.com/office/powerpoint/2010/main" val="3212392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